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3" r:id="rId4"/>
  </p:sldMasterIdLst>
  <p:notesMasterIdLst>
    <p:notesMasterId r:id="rId11"/>
  </p:notesMasterIdLst>
  <p:sldIdLst>
    <p:sldId id="257" r:id="rId5"/>
    <p:sldId id="263" r:id="rId6"/>
    <p:sldId id="269" r:id="rId7"/>
    <p:sldId id="268" r:id="rId8"/>
    <p:sldId id="266" r:id="rId9"/>
    <p:sldId id="267" r:id="rId10"/>
  </p:sldIdLst>
  <p:sldSz cx="12192000" cy="6858000"/>
  <p:notesSz cx="6858000" cy="9144000"/>
  <p:custDataLst>
    <p:tags r:id="rId1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D9F103-9221-694A-84AF-C41B57C6CF4C}" v="1" dt="2025-05-01T16:49:43.2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86422" autoAdjust="0"/>
  </p:normalViewPr>
  <p:slideViewPr>
    <p:cSldViewPr snapToGrid="0">
      <p:cViewPr varScale="1">
        <p:scale>
          <a:sx n="103" d="100"/>
          <a:sy n="103" d="100"/>
        </p:scale>
        <p:origin x="960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w Kerr" userId="4353d390-f1fe-4962-96d2-552af204605f" providerId="ADAL" clId="{3FD9F103-9221-694A-84AF-C41B57C6CF4C}"/>
    <pc:docChg chg="modSld modMainMaster">
      <pc:chgData name="Andrew Kerr" userId="4353d390-f1fe-4962-96d2-552af204605f" providerId="ADAL" clId="{3FD9F103-9221-694A-84AF-C41B57C6CF4C}" dt="2025-05-01T16:49:43.231" v="0" actId="18331"/>
      <pc:docMkLst>
        <pc:docMk/>
      </pc:docMkLst>
      <pc:sldChg chg="modSp setBg">
        <pc:chgData name="Andrew Kerr" userId="4353d390-f1fe-4962-96d2-552af204605f" providerId="ADAL" clId="{3FD9F103-9221-694A-84AF-C41B57C6CF4C}" dt="2025-05-01T16:49:43.231" v="0" actId="18331"/>
        <pc:sldMkLst>
          <pc:docMk/>
          <pc:sldMk cId="3645474135" sldId="257"/>
        </pc:sldMkLst>
        <pc:picChg chg="mod">
          <ac:chgData name="Andrew Kerr" userId="4353d390-f1fe-4962-96d2-552af204605f" providerId="ADAL" clId="{3FD9F103-9221-694A-84AF-C41B57C6CF4C}" dt="2025-05-01T16:49:43.231" v="0" actId="18331"/>
          <ac:picMkLst>
            <pc:docMk/>
            <pc:sldMk cId="3645474135" sldId="257"/>
            <ac:picMk id="5" creationId="{7C95FB9A-C2C4-4399-89D0-552E068A7A03}"/>
          </ac:picMkLst>
        </pc:picChg>
      </pc:sldChg>
      <pc:sldChg chg="setBg">
        <pc:chgData name="Andrew Kerr" userId="4353d390-f1fe-4962-96d2-552af204605f" providerId="ADAL" clId="{3FD9F103-9221-694A-84AF-C41B57C6CF4C}" dt="2025-05-01T16:49:43.231" v="0" actId="18331"/>
        <pc:sldMkLst>
          <pc:docMk/>
          <pc:sldMk cId="2978166836" sldId="263"/>
        </pc:sldMkLst>
      </pc:sldChg>
      <pc:sldChg chg="setBg">
        <pc:chgData name="Andrew Kerr" userId="4353d390-f1fe-4962-96d2-552af204605f" providerId="ADAL" clId="{3FD9F103-9221-694A-84AF-C41B57C6CF4C}" dt="2025-05-01T16:49:43.231" v="0" actId="18331"/>
        <pc:sldMkLst>
          <pc:docMk/>
          <pc:sldMk cId="3162109362" sldId="266"/>
        </pc:sldMkLst>
      </pc:sldChg>
      <pc:sldChg chg="setBg">
        <pc:chgData name="Andrew Kerr" userId="4353d390-f1fe-4962-96d2-552af204605f" providerId="ADAL" clId="{3FD9F103-9221-694A-84AF-C41B57C6CF4C}" dt="2025-05-01T16:49:43.231" v="0" actId="18331"/>
        <pc:sldMkLst>
          <pc:docMk/>
          <pc:sldMk cId="2574867285" sldId="267"/>
        </pc:sldMkLst>
      </pc:sldChg>
      <pc:sldChg chg="setBg">
        <pc:chgData name="Andrew Kerr" userId="4353d390-f1fe-4962-96d2-552af204605f" providerId="ADAL" clId="{3FD9F103-9221-694A-84AF-C41B57C6CF4C}" dt="2025-05-01T16:49:43.231" v="0" actId="18331"/>
        <pc:sldMkLst>
          <pc:docMk/>
          <pc:sldMk cId="2887549149" sldId="268"/>
        </pc:sldMkLst>
      </pc:sldChg>
      <pc:sldChg chg="setBg">
        <pc:chgData name="Andrew Kerr" userId="4353d390-f1fe-4962-96d2-552af204605f" providerId="ADAL" clId="{3FD9F103-9221-694A-84AF-C41B57C6CF4C}" dt="2025-05-01T16:49:43.231" v="0" actId="18331"/>
        <pc:sldMkLst>
          <pc:docMk/>
          <pc:sldMk cId="1436268425" sldId="269"/>
        </pc:sldMkLst>
      </pc:sldChg>
      <pc:sldMasterChg chg="modSldLayout">
        <pc:chgData name="Andrew Kerr" userId="4353d390-f1fe-4962-96d2-552af204605f" providerId="ADAL" clId="{3FD9F103-9221-694A-84AF-C41B57C6CF4C}" dt="2025-05-01T16:49:43.231" v="0" actId="18331"/>
        <pc:sldMasterMkLst>
          <pc:docMk/>
          <pc:sldMasterMk cId="0" sldId="2147483653"/>
        </pc:sldMasterMkLst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269265689" sldId="2147483684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1060583348" sldId="2147483685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1594977373" sldId="2147483686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1881372183" sldId="2147483687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3158346796" sldId="2147483688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2049025529" sldId="2147483689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3454128329" sldId="2147483690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110167885" sldId="2147483691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3074390162" sldId="2147483692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999034184" sldId="2147483693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154215606" sldId="2147483694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1563919217" sldId="2147483695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4044040279" sldId="2147483696"/>
          </pc:sldLayoutMkLst>
        </pc:sldLayoutChg>
        <pc:sldLayoutChg chg="setBg">
          <pc:chgData name="Andrew Kerr" userId="4353d390-f1fe-4962-96d2-552af204605f" providerId="ADAL" clId="{3FD9F103-9221-694A-84AF-C41B57C6CF4C}" dt="2025-05-01T16:49:43.231" v="0" actId="18331"/>
          <pc:sldLayoutMkLst>
            <pc:docMk/>
            <pc:sldMasterMk cId="0" sldId="2147483653"/>
            <pc:sldLayoutMk cId="3058825889" sldId="214748371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6C2909-A1D4-9941-6C5D-11CB25560C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12F19-6492-DA47-953D-143B592A786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E06791-CDBF-A647-8444-DF777B63999E}" type="datetimeFigureOut">
              <a:rPr lang="en-US"/>
              <a:pPr>
                <a:defRPr/>
              </a:pPr>
              <a:t>5/1/25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6C2EAD5-306E-5D6B-3A8C-A7EBFA142B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8FADCA2-986A-8495-B1A1-055029DE9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55A8D-F194-1CEF-E639-BFD13897CF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8ED3-560E-1E75-C627-0F6EDF16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06726BC-5D2B-5E4B-962F-582EB5C042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6C5E6E-A3B5-28F6-5467-664224D6723F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0AB8EA-4C1B-8073-90A1-AD8D430842B0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72DB006-DED8-B3A4-0A02-7E4926391128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ooter section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4F447-8CA9-33BE-E377-5978DF6D4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EC0D80-ACF4-7430-3072-19DF10A247CE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4AFB1C-29CD-EE37-0F27-4494966F87D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CA2D7B74-282B-194E-0ED8-4C71716DF75F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025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footer section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58B4A-1704-7FAA-2888-97123A65B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18D453-6C57-8EC0-16EC-5EFF8D99BCAA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D25133-DCA6-2ABC-7DB5-76855BF59194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BD90D56-76BE-4F7A-4603-AF9A76AC10CC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390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whit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FDB2D23-034C-04DF-F0B8-35C8FC0CA860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A9DFDF-C584-E267-00FE-04B3DAF2081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2DAF798-BB59-22A2-3DDD-F643634B4150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128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blu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11412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F60915-5A9C-9538-BDEF-B194B6AAA1A8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12283-4C26-CF27-7E58-30DD0589316A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7D4C270-0891-646C-B879-87908F440F27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67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statement whit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EA6016-817E-0DBA-9DBD-AAF3167A0A23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35810A-E7BD-AFD0-E408-348D0BF0876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B04377B0-00CF-5B3F-0C1E-65DB58846F60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825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HSEL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B090E-9611-6925-01EE-D6209A003E33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44032B-FE5E-9C55-F32A-99AE2E54A0BC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613C4FB-4822-22B8-E305-4CFD30283FA3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583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6DB55B-A613-D024-7343-93B00B10F84B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5EBD95-027C-8159-D819-6DEB9FA2CE35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E763463-3BAA-29DA-A582-2A02877FA635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977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bg>
      <p:bgPr>
        <a:blipFill dpi="0" rotWithShape="0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F1412AA-C8C3-0432-1E61-C819267C0A67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30E901-C0C7-4FA5-69EA-11B1CD5583A2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9AA3706C-C5FA-31BC-6A5B-AE0C4F53F1A7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372183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476B64B-D927-006D-2EEF-F0B52B7F6CFA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97EB59-C5B7-01F8-F9CA-8EE21F1C95EF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5EBAB6C-AB16-7663-829B-C94952B7DA3F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346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0205A-CB70-50C1-E147-5EAE15B0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446CBE-126E-800C-E5E5-FD0DD2E066EC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E7BB5A-BDAD-78BF-EC62-FC31AE7D9EE4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45EBBEB-B316-5734-87ED-43B0290E3925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034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D7DDF92-55D2-78E4-26D7-7AA8751BE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C4758F-B40E-0217-624A-3B5C92353765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4F3BAB-F7AF-FEA3-D8F1-37EF359E3740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53CF9980-576A-4D43-3FA9-7CDAE7A78383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9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72277B-7A2D-22ED-C8AB-644257FA0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702D18-87A3-B504-A14A-C13785EB6489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99520C-19A2-D0B3-046A-929448DAA6CF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B17F740-BE4A-4AB6-C8DB-F30AF3319D06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15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1E7A0A-806F-0072-E9CF-DB48F2F60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8CAF1E-D7AA-58D0-92DB-2143E324ACFA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830A70-0A58-54BF-4749-DF66557CBFB8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D184735-877E-7480-EA1A-719608F97138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04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8100" imgH="38100" progId="TCLayout.ActiveDocument.1">
                  <p:embed/>
                </p:oleObj>
              </mc:Choice>
              <mc:Fallback>
                <p:oleObj name="think-cell Slide" r:id="rId17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93" r:id="rId6"/>
    <p:sldLayoutId id="2147483695" r:id="rId7"/>
    <p:sldLayoutId id="2147483694" r:id="rId8"/>
    <p:sldLayoutId id="2147483696" r:id="rId9"/>
    <p:sldLayoutId id="2147483689" r:id="rId10"/>
    <p:sldLayoutId id="2147483692" r:id="rId11"/>
    <p:sldLayoutId id="2147483690" r:id="rId12"/>
    <p:sldLayoutId id="2147483691" r:id="rId13"/>
    <p:sldLayoutId id="2147483716" r:id="rId1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londoncreativehealthcity.org.uk/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londoncreativehealthcity.org.uk/creative-health-connections-map/" TargetMode="External"/><Relationship Id="rId2" Type="http://schemas.openxmlformats.org/officeDocument/2006/relationships/hyperlink" Target="https://padlet.com/florafaithkelly/how-can-we-reduce-health-inequalities-through-creativity-sou-74kzeg1sbo6ddoyg/wish/dMA1W8MzNvmGa4OV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www.culturehealthandwellbeing.org.uk/resources/creative-health-quality-framework" TargetMode="External"/><Relationship Id="rId4" Type="http://schemas.openxmlformats.org/officeDocument/2006/relationships/hyperlink" Target="https://londonplus.org/london-social-prescribing-network-homepage-creative-health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ulturehealthandwellbeing.org.uk/resources/creative-health-quality-framework" TargetMode="External"/><Relationship Id="rId7" Type="http://schemas.openxmlformats.org/officeDocument/2006/relationships/hyperlink" Target="https://www.london.gov.uk/programmes-strategies/arts-and-culture/creative-health-and-wellbeing/londons-creative-health-sector" TargetMode="External"/><Relationship Id="rId2" Type="http://schemas.openxmlformats.org/officeDocument/2006/relationships/hyperlink" Target="https://londonplus.org/creative-health-impact-framework/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ncch.org.uk/uploads/Creative-Health-at-a-Glance-_-Booklet.pdf" TargetMode="External"/><Relationship Id="rId5" Type="http://schemas.openxmlformats.org/officeDocument/2006/relationships/hyperlink" Target="https://creativityandwellbeing.org.uk/" TargetMode="External"/><Relationship Id="rId4" Type="http://schemas.openxmlformats.org/officeDocument/2006/relationships/hyperlink" Target="https://londoncreativehealthcity.org.uk/creative-health-connections-map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ED560B3-8A3B-DFF7-086A-620D72A8D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1561" y="1634728"/>
            <a:ext cx="4983467" cy="260246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reative Health Lead, SEL Integrated Care Board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916462-D128-7BCC-4794-1746156FB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787" y="4237188"/>
            <a:ext cx="7959725" cy="483813"/>
          </a:xfrm>
        </p:spPr>
        <p:txBody>
          <a:bodyPr/>
          <a:lstStyle/>
          <a:p>
            <a:r>
              <a:rPr lang="en-US" b="1" dirty="0"/>
              <a:t>Flora.Faith-Kelly@selondonics.nhs.uk</a:t>
            </a:r>
            <a:endParaRPr lang="en-GB" b="1" dirty="0"/>
          </a:p>
        </p:txBody>
      </p:sp>
      <p:pic>
        <p:nvPicPr>
          <p:cNvPr id="5" name="Picture 4" descr="A group of people sitting at tables in a room&#10;&#10;AI-generated content may be incorrect.">
            <a:extLst>
              <a:ext uri="{FF2B5EF4-FFF2-40B4-BE49-F238E27FC236}">
                <a16:creationId xmlns:a16="http://schemas.microsoft.com/office/drawing/2014/main" id="{7C95FB9A-C2C4-4399-89D0-552E068A7A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5002" y="1266023"/>
            <a:ext cx="6178211" cy="4639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4741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14CBC0-014C-D034-DB5F-2E44F1673E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44442" y="298320"/>
            <a:ext cx="6525486" cy="768480"/>
          </a:xfrm>
        </p:spPr>
        <p:txBody>
          <a:bodyPr>
            <a:normAutofit fontScale="92500"/>
          </a:bodyPr>
          <a:lstStyle/>
          <a:p>
            <a:r>
              <a:rPr lang="en-US" dirty="0"/>
              <a:t>What is Creative Health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3B8918-2F89-F207-B92D-4993441507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8788" y="1422401"/>
            <a:ext cx="7257006" cy="501279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omoting a </a:t>
            </a:r>
            <a:r>
              <a:rPr lang="en-US" dirty="0" err="1"/>
              <a:t>personalised</a:t>
            </a:r>
            <a:r>
              <a:rPr lang="en-US" dirty="0"/>
              <a:t> approach - creativity promotes choice &amp; conversations – highly personalized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reativity as preventative health tool: helps keep people well, connected, happy.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nabling: creativity as tool for staying well through illness – Parkinson’s, Dementia, Stroke, Cancer, Mental Health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reativity as amplifier: Uplifts and expresses lived experience – Creative expression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ondon wants to become a </a:t>
            </a:r>
            <a:r>
              <a:rPr lang="en-US" dirty="0">
                <a:hlinkClick r:id="rId2"/>
              </a:rPr>
              <a:t>Creative Health City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4" name="Picture 3" descr="A close-up of a text&#10;&#10;Description automatically generated">
            <a:extLst>
              <a:ext uri="{FF2B5EF4-FFF2-40B4-BE49-F238E27FC236}">
                <a16:creationId xmlns:a16="http://schemas.microsoft.com/office/drawing/2014/main" id="{21BE3124-14FB-559A-6A7E-E6FCE18E35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5428" y="951078"/>
            <a:ext cx="4136571" cy="548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166836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684E16-73DB-9BE2-BB64-5D08444EA1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97088" y="387220"/>
            <a:ext cx="10450512" cy="1481174"/>
          </a:xfrm>
        </p:spPr>
        <p:txBody>
          <a:bodyPr/>
          <a:lstStyle/>
          <a:p>
            <a:r>
              <a:rPr lang="en-US" dirty="0"/>
              <a:t>The Evidence on Creative Health</a:t>
            </a:r>
          </a:p>
        </p:txBody>
      </p:sp>
      <p:pic>
        <p:nvPicPr>
          <p:cNvPr id="5" name="Picture 4" descr="A close-up of a black text&#10;&#10;AI-generated content may be incorrect.">
            <a:extLst>
              <a:ext uri="{FF2B5EF4-FFF2-40B4-BE49-F238E27FC236}">
                <a16:creationId xmlns:a16="http://schemas.microsoft.com/office/drawing/2014/main" id="{C931B134-3D92-5515-DDF1-DC72BDCA01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171" y="1494799"/>
            <a:ext cx="3543482" cy="1308167"/>
          </a:xfrm>
          <a:prstGeom prst="rect">
            <a:avLst/>
          </a:prstGeom>
        </p:spPr>
      </p:pic>
      <p:pic>
        <p:nvPicPr>
          <p:cNvPr id="7" name="Picture 6" descr="A close-up of a person's body&#10;&#10;AI-generated content may be incorrect.">
            <a:extLst>
              <a:ext uri="{FF2B5EF4-FFF2-40B4-BE49-F238E27FC236}">
                <a16:creationId xmlns:a16="http://schemas.microsoft.com/office/drawing/2014/main" id="{42241029-7C0E-0793-69C1-DEDC56D9F3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1" y="3038455"/>
            <a:ext cx="3714941" cy="2089257"/>
          </a:xfrm>
          <a:prstGeom prst="rect">
            <a:avLst/>
          </a:prstGeom>
        </p:spPr>
      </p:pic>
      <p:pic>
        <p:nvPicPr>
          <p:cNvPr id="9" name="Picture 8" descr="A close-up of a white background&#10;&#10;AI-generated content may be incorrect.">
            <a:extLst>
              <a:ext uri="{FF2B5EF4-FFF2-40B4-BE49-F238E27FC236}">
                <a16:creationId xmlns:a16="http://schemas.microsoft.com/office/drawing/2014/main" id="{14DCDC87-BC8F-C80F-967B-04F660F06C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9633" y="1494799"/>
            <a:ext cx="3556183" cy="1054154"/>
          </a:xfrm>
          <a:prstGeom prst="rect">
            <a:avLst/>
          </a:prstGeom>
        </p:spPr>
      </p:pic>
      <p:pic>
        <p:nvPicPr>
          <p:cNvPr id="11" name="Picture 10" descr="A person holding a heart&#10;&#10;AI-generated content may be incorrect.">
            <a:extLst>
              <a:ext uri="{FF2B5EF4-FFF2-40B4-BE49-F238E27FC236}">
                <a16:creationId xmlns:a16="http://schemas.microsoft.com/office/drawing/2014/main" id="{8C761B28-A266-34B8-89E3-399F12CC83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390" y="5363201"/>
            <a:ext cx="3759393" cy="1181161"/>
          </a:xfrm>
          <a:prstGeom prst="rect">
            <a:avLst/>
          </a:prstGeom>
        </p:spPr>
      </p:pic>
      <p:pic>
        <p:nvPicPr>
          <p:cNvPr id="13" name="Picture 12" descr="A close-up of a health care information&#10;&#10;AI-generated content may be incorrect.">
            <a:extLst>
              <a:ext uri="{FF2B5EF4-FFF2-40B4-BE49-F238E27FC236}">
                <a16:creationId xmlns:a16="http://schemas.microsoft.com/office/drawing/2014/main" id="{EF639701-98AF-94FD-FD06-C339C1AC82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3100" y="3033857"/>
            <a:ext cx="3829247" cy="1663786"/>
          </a:xfrm>
          <a:prstGeom prst="rect">
            <a:avLst/>
          </a:prstGeom>
        </p:spPr>
      </p:pic>
      <p:pic>
        <p:nvPicPr>
          <p:cNvPr id="15" name="Picture 14" descr="A close-up of a white background&#10;&#10;AI-generated content may be incorrect.">
            <a:extLst>
              <a:ext uri="{FF2B5EF4-FFF2-40B4-BE49-F238E27FC236}">
                <a16:creationId xmlns:a16="http://schemas.microsoft.com/office/drawing/2014/main" id="{778D2BB7-7DCB-C17A-DBEC-152846F502E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8665" y="3304071"/>
            <a:ext cx="4074502" cy="3078117"/>
          </a:xfrm>
          <a:prstGeom prst="rect">
            <a:avLst/>
          </a:prstGeom>
        </p:spPr>
      </p:pic>
      <p:pic>
        <p:nvPicPr>
          <p:cNvPr id="17" name="Picture 16" descr="A close-up of a white background&#10;&#10;AI-generated content may be incorrect.">
            <a:extLst>
              <a:ext uri="{FF2B5EF4-FFF2-40B4-BE49-F238E27FC236}">
                <a16:creationId xmlns:a16="http://schemas.microsoft.com/office/drawing/2014/main" id="{D82051C6-C6BE-2FE3-DBD6-2FAD1EF2AE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89633" y="5363201"/>
            <a:ext cx="3613336" cy="863644"/>
          </a:xfrm>
          <a:prstGeom prst="rect">
            <a:avLst/>
          </a:prstGeom>
        </p:spPr>
      </p:pic>
      <p:pic>
        <p:nvPicPr>
          <p:cNvPr id="19" name="Picture 18" descr="A close-up of a white background&#10;&#10;AI-generated content may be incorrect.">
            <a:extLst>
              <a:ext uri="{FF2B5EF4-FFF2-40B4-BE49-F238E27FC236}">
                <a16:creationId xmlns:a16="http://schemas.microsoft.com/office/drawing/2014/main" id="{B7F80CF1-16BB-816A-47FF-B11A36F55EC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58665" y="1393194"/>
            <a:ext cx="3657788" cy="115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268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508316-6450-B608-B345-038D78FE03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41700" y="389932"/>
            <a:ext cx="9426575" cy="1481174"/>
          </a:xfrm>
        </p:spPr>
        <p:txBody>
          <a:bodyPr/>
          <a:lstStyle/>
          <a:p>
            <a:r>
              <a:rPr lang="en-US" dirty="0"/>
              <a:t>Creative Health Lead Prioritie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BB77FC-D62C-5913-0E24-C9F2D98FDC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1236" y="1469205"/>
            <a:ext cx="9579064" cy="4828854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Advocacy and profile raising</a:t>
            </a:r>
          </a:p>
          <a:p>
            <a:pPr marL="1485900" lvl="2" indent="-342900">
              <a:buFontTx/>
              <a:buChar char="-"/>
            </a:pPr>
            <a:r>
              <a:rPr lang="en-US" dirty="0"/>
              <a:t>Advocating for creative health organisations and their contributions to be valued within the Integrated Neighbourhood Model &amp; wider ICS working</a:t>
            </a:r>
          </a:p>
          <a:p>
            <a:pPr marL="1485900" lvl="2" indent="-342900">
              <a:buFontTx/>
              <a:buChar char="-"/>
            </a:pPr>
            <a:r>
              <a:rPr lang="en-US" dirty="0"/>
              <a:t>Platforming the impact creative health is having in SEL on reducing health inequalities</a:t>
            </a:r>
          </a:p>
          <a:p>
            <a:pPr marL="1485900" lvl="2" indent="-342900">
              <a:buFontTx/>
              <a:buChar char="-"/>
            </a:pPr>
            <a:r>
              <a:rPr lang="en-US" dirty="0"/>
              <a:t>Sharing the growing evidence base of creativity’s impact on health &amp; wellbeing</a:t>
            </a:r>
          </a:p>
          <a:p>
            <a:pPr marL="1485900" lvl="2" indent="-342900">
              <a:buFontTx/>
              <a:buChar char="-"/>
            </a:pPr>
            <a:endParaRPr lang="en-US" dirty="0"/>
          </a:p>
          <a:p>
            <a:r>
              <a:rPr lang="en-US" dirty="0"/>
              <a:t>Network support &amp; information link up</a:t>
            </a:r>
          </a:p>
          <a:p>
            <a:pPr marL="1028700" lvl="1" indent="-342900">
              <a:buFontTx/>
              <a:buChar char="-"/>
            </a:pPr>
            <a:r>
              <a:rPr lang="en-US" sz="2000" dirty="0">
                <a:hlinkClick r:id="rId2"/>
              </a:rPr>
              <a:t>ICS wide event at Southbank Centre 12</a:t>
            </a:r>
            <a:r>
              <a:rPr lang="en-US" sz="2000" baseline="30000" dirty="0">
                <a:hlinkClick r:id="rId2"/>
              </a:rPr>
              <a:t>th</a:t>
            </a:r>
            <a:r>
              <a:rPr lang="en-US" sz="2000" dirty="0">
                <a:hlinkClick r:id="rId2"/>
              </a:rPr>
              <a:t> February </a:t>
            </a:r>
            <a:r>
              <a:rPr lang="en-US" sz="2000" dirty="0"/>
              <a:t>– How Can Creativity Reduce Health Inequalities</a:t>
            </a:r>
          </a:p>
          <a:p>
            <a:pPr marL="1028700" lvl="1" indent="-342900">
              <a:buFontTx/>
              <a:buChar char="-"/>
            </a:pPr>
            <a:r>
              <a:rPr lang="en-US" sz="2000" dirty="0"/>
              <a:t>Mapping – </a:t>
            </a:r>
            <a:r>
              <a:rPr lang="en-US" sz="2000" dirty="0">
                <a:hlinkClick r:id="rId3"/>
              </a:rPr>
              <a:t>London Arts and Health Creative Connections Map</a:t>
            </a:r>
            <a:r>
              <a:rPr lang="en-US" sz="2000" dirty="0"/>
              <a:t>,</a:t>
            </a:r>
          </a:p>
          <a:p>
            <a:pPr marL="1028700" lvl="1" indent="-342900">
              <a:buFontTx/>
              <a:buChar char="-"/>
            </a:pPr>
            <a:r>
              <a:rPr lang="en-US" sz="2000" dirty="0"/>
              <a:t>Place Level working groups and network development – Marketplaces, Networks</a:t>
            </a:r>
          </a:p>
          <a:p>
            <a:endParaRPr lang="en-US" dirty="0"/>
          </a:p>
          <a:p>
            <a:r>
              <a:rPr lang="en-US" dirty="0"/>
              <a:t>Building a shared language across shared vision &amp; impact</a:t>
            </a:r>
          </a:p>
          <a:p>
            <a:pPr marL="1028700" lvl="1" indent="-342900">
              <a:buFontTx/>
              <a:buChar char="-"/>
            </a:pPr>
            <a:r>
              <a:rPr lang="en-US" sz="2200" dirty="0">
                <a:hlinkClick r:id="rId4"/>
              </a:rPr>
              <a:t>London Plus Impact Framework</a:t>
            </a:r>
            <a:r>
              <a:rPr lang="en-US" sz="2200" dirty="0"/>
              <a:t> &amp; </a:t>
            </a:r>
            <a:r>
              <a:rPr lang="en-US" sz="2200" dirty="0">
                <a:hlinkClick r:id="rId5"/>
              </a:rPr>
              <a:t>Creative Health Quality Framework</a:t>
            </a:r>
            <a:endParaRPr lang="en-US" sz="2200" dirty="0"/>
          </a:p>
          <a:p>
            <a:pPr marL="1028700" lvl="1" indent="-342900">
              <a:buFontTx/>
              <a:buChar char="-"/>
            </a:pPr>
            <a:r>
              <a:rPr lang="en-US" sz="2200" dirty="0"/>
              <a:t>Naming Creative Health in strategies – Culture, Regeneration, Public Health</a:t>
            </a:r>
          </a:p>
          <a:p>
            <a:pPr marL="1028700" lvl="1" indent="-342900">
              <a:buFontTx/>
              <a:buChar char="-"/>
            </a:pPr>
            <a:r>
              <a:rPr lang="en-US" sz="2200" dirty="0"/>
              <a:t>Utilising opportunities for test &amp; learn with creative health</a:t>
            </a:r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7549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EB77D31-14E7-7689-4B51-DF72C24E4BEC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655531271"/>
              </p:ext>
            </p:extLst>
          </p:nvPr>
        </p:nvGraphicFramePr>
        <p:xfrm>
          <a:off x="466566" y="1185792"/>
          <a:ext cx="11420634" cy="52467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5292">
                  <a:extLst>
                    <a:ext uri="{9D8B030D-6E8A-4147-A177-3AD203B41FA5}">
                      <a16:colId xmlns:a16="http://schemas.microsoft.com/office/drawing/2014/main" val="1589708983"/>
                    </a:ext>
                  </a:extLst>
                </a:gridCol>
                <a:gridCol w="9175342">
                  <a:extLst>
                    <a:ext uri="{9D8B030D-6E8A-4147-A177-3AD203B41FA5}">
                      <a16:colId xmlns:a16="http://schemas.microsoft.com/office/drawing/2014/main" val="3615832858"/>
                    </a:ext>
                  </a:extLst>
                </a:gridCol>
              </a:tblGrid>
              <a:tr h="361043">
                <a:tc>
                  <a:txBody>
                    <a:bodyPr/>
                    <a:lstStyle/>
                    <a:p>
                      <a:r>
                        <a:rPr lang="en-US" dirty="0"/>
                        <a:t>Borough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ocus Area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971449"/>
                  </a:ext>
                </a:extLst>
              </a:tr>
              <a:tr h="1245224">
                <a:tc>
                  <a:txBody>
                    <a:bodyPr/>
                    <a:lstStyle/>
                    <a:p>
                      <a:r>
                        <a:rPr lang="en-US" dirty="0"/>
                        <a:t>Lewisham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eative Health as part of Integrated Neighbourhood Model – Developing a model for embedding creative health intervention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327688"/>
                  </a:ext>
                </a:extLst>
              </a:tr>
              <a:tr h="1075420">
                <a:tc>
                  <a:txBody>
                    <a:bodyPr/>
                    <a:lstStyle/>
                    <a:p>
                      <a:r>
                        <a:rPr lang="en-US" dirty="0"/>
                        <a:t>Greenwich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eative Health knowledge exchange &amp; peer support – network support for those delivering creative health, utilising Specialist Topic Community Champions to support uptake.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3871960"/>
                  </a:ext>
                </a:extLst>
              </a:tr>
              <a:tr h="905617">
                <a:tc>
                  <a:txBody>
                    <a:bodyPr/>
                    <a:lstStyle/>
                    <a:p>
                      <a:r>
                        <a:rPr lang="en-US" dirty="0"/>
                        <a:t>Lambeth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howcasing Creative Health – Providing marketplace opportunities to showcase available creative activities to community &amp; health sector – aiming for September 2025</a:t>
                      </a:r>
                    </a:p>
                    <a:p>
                      <a:r>
                        <a:rPr lang="en-US" dirty="0"/>
                        <a:t>Southbank x ICB Partnership on Young People’s Mental Health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8223094"/>
                  </a:ext>
                </a:extLst>
              </a:tr>
              <a:tr h="905617">
                <a:tc>
                  <a:txBody>
                    <a:bodyPr/>
                    <a:lstStyle/>
                    <a:p>
                      <a:r>
                        <a:rPr lang="en-US" dirty="0"/>
                        <a:t>Southwark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videncing Creative Health – Applying the Creative Health Impact Framework in Southwark – building a shared language around creative health – Becoming a Creative Health Borough – Hosting a Creative Health Roundtabl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3786326"/>
                  </a:ext>
                </a:extLst>
              </a:tr>
              <a:tr h="361043">
                <a:tc>
                  <a:txBody>
                    <a:bodyPr/>
                    <a:lstStyle/>
                    <a:p>
                      <a:r>
                        <a:rPr lang="en-US" dirty="0"/>
                        <a:t>Bromle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king Creative Health visible 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9628377"/>
                  </a:ext>
                </a:extLst>
              </a:tr>
              <a:tr h="361043">
                <a:tc>
                  <a:txBody>
                    <a:bodyPr/>
                    <a:lstStyle/>
                    <a:p>
                      <a:r>
                        <a:rPr lang="en-US" dirty="0"/>
                        <a:t>Bexle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owing a Creative Health network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907122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A87B2782-58A1-C082-5C2F-1EDB2154D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9946" y="260314"/>
            <a:ext cx="7524521" cy="662782"/>
          </a:xfrm>
        </p:spPr>
        <p:txBody>
          <a:bodyPr/>
          <a:lstStyle/>
          <a:p>
            <a:r>
              <a:rPr lang="en-US" dirty="0"/>
              <a:t>Borough Level Creative Health Next Step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109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0A66411-97FD-7BBD-2C6C-26652E4D3D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5627" y="1371500"/>
            <a:ext cx="10279597" cy="48261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err="1"/>
              <a:t>Utilise</a:t>
            </a:r>
            <a:r>
              <a:rPr lang="en-US" dirty="0"/>
              <a:t> </a:t>
            </a:r>
            <a:r>
              <a:rPr lang="en-US" dirty="0">
                <a:hlinkClick r:id="rId2"/>
              </a:rPr>
              <a:t>Impact Framework </a:t>
            </a:r>
            <a:r>
              <a:rPr lang="en-US" dirty="0"/>
              <a:t>across SEL </a:t>
            </a:r>
          </a:p>
          <a:p>
            <a:pPr>
              <a:lnSpc>
                <a:spcPct val="150000"/>
              </a:lnSpc>
            </a:pPr>
            <a:r>
              <a:rPr lang="en-GB" dirty="0">
                <a:hlinkClick r:id="rId3"/>
              </a:rPr>
              <a:t>Creative-health-quality-framework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Building SEL presence on </a:t>
            </a:r>
            <a:r>
              <a:rPr lang="en-US" dirty="0">
                <a:hlinkClick r:id="rId4"/>
              </a:rPr>
              <a:t>Creative Health Connections Map – London Creative Health City: Building it together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>
                <a:hlinkClick r:id="rId5"/>
              </a:rPr>
              <a:t>Creativity and Wellbeing Week 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GB" dirty="0">
                <a:hlinkClick r:id="rId6"/>
              </a:rPr>
              <a:t>Creative-Health-at-a-Glance-_-Booklet.pdf</a:t>
            </a:r>
            <a:endParaRPr lang="en-US" dirty="0"/>
          </a:p>
          <a:p>
            <a:pPr>
              <a:lnSpc>
                <a:spcPct val="100000"/>
              </a:lnSpc>
            </a:pPr>
            <a:r>
              <a:rPr lang="en-US" dirty="0">
                <a:hlinkClick r:id="rId7"/>
              </a:rPr>
              <a:t>London’s Creative Health Sector | London City Hall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BFB4C0-B838-1E7B-3BE3-348AC5CE6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0402" y="297757"/>
            <a:ext cx="7524521" cy="662782"/>
          </a:xfrm>
        </p:spPr>
        <p:txBody>
          <a:bodyPr/>
          <a:lstStyle/>
          <a:p>
            <a:r>
              <a:rPr lang="en-US" dirty="0"/>
              <a:t>Resources for Creative Heal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4867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  -  Compatibility Mode" id="{C8D68B3C-46FE-8A44-B1C6-695B798B8244}" vid="{D602DA36-49CC-6743-9D3E-2F4DC04F35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953E1FAAA4174DA32B083DE535723A" ma:contentTypeVersion="18" ma:contentTypeDescription="Create a new document." ma:contentTypeScope="" ma:versionID="19c95ce45db6f3c80079ca267792b152">
  <xsd:schema xmlns:xsd="http://www.w3.org/2001/XMLSchema" xmlns:xs="http://www.w3.org/2001/XMLSchema" xmlns:p="http://schemas.microsoft.com/office/2006/metadata/properties" xmlns:ns2="a0918bfa-692a-4922-b76d-02f98a2a4b44" xmlns:ns3="ad159358-9462-4e9b-ae8b-85b0e6b0b597" targetNamespace="http://schemas.microsoft.com/office/2006/metadata/properties" ma:root="true" ma:fieldsID="bbeec10b9ad8d629838e9ba769404554" ns2:_="" ns3:_="">
    <xsd:import namespace="a0918bfa-692a-4922-b76d-02f98a2a4b44"/>
    <xsd:import namespace="ad159358-9462-4e9b-ae8b-85b0e6b0b59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918bfa-692a-4922-b76d-02f98a2a4b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3bae60f5-b7ad-4981-a8ef-0360d6a367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159358-9462-4e9b-ae8b-85b0e6b0b59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331a92c1-4f56-4a99-a57a-621324e0f57d}" ma:internalName="TaxCatchAll" ma:showField="CatchAllData" ma:web="ad159358-9462-4e9b-ae8b-85b0e6b0b5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0918bfa-692a-4922-b76d-02f98a2a4b44">
      <Terms xmlns="http://schemas.microsoft.com/office/infopath/2007/PartnerControls"/>
    </lcf76f155ced4ddcb4097134ff3c332f>
    <TaxCatchAll xmlns="ad159358-9462-4e9b-ae8b-85b0e6b0b597" xsi:nil="true"/>
    <SharedWithUsers xmlns="ad159358-9462-4e9b-ae8b-85b0e6b0b597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60C299-1618-4673-B735-BB69D86B15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918bfa-692a-4922-b76d-02f98a2a4b44"/>
    <ds:schemaRef ds:uri="ad159358-9462-4e9b-ae8b-85b0e6b0b5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A9066BB-6E68-4A9D-9848-A5363CFD3E4F}">
  <ds:schemaRefs>
    <ds:schemaRef ds:uri="http://purl.org/dc/dcmitype/"/>
    <ds:schemaRef ds:uri="http://purl.org/dc/terms/"/>
    <ds:schemaRef ds:uri="ad159358-9462-4e9b-ae8b-85b0e6b0b597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a0918bfa-692a-4922-b76d-02f98a2a4b4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109BEA6-CA7B-4FBD-8BBB-290507871B3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CHWeP 31.03.25</Template>
  <TotalTime>58</TotalTime>
  <Words>402</Words>
  <Application>Microsoft Macintosh PowerPoint</Application>
  <PresentationFormat>Widescreen</PresentationFormat>
  <Paragraphs>5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Borough Level Creative Health Next Steps</vt:lpstr>
      <vt:lpstr>Resources for Creative Healt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lora Faith-Kelly (NHS South East London ICB)</dc:creator>
  <cp:lastModifiedBy>Andrew Kerr</cp:lastModifiedBy>
  <cp:revision>1</cp:revision>
  <dcterms:created xsi:type="dcterms:W3CDTF">2025-04-15T08:51:27Z</dcterms:created>
  <dcterms:modified xsi:type="dcterms:W3CDTF">2025-05-01T16:4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953E1FAAA4174DA32B083DE535723A</vt:lpwstr>
  </property>
  <property fmtid="{D5CDD505-2E9C-101B-9397-08002B2CF9AE}" pid="3" name="MediaServiceImageTags">
    <vt:lpwstr/>
  </property>
  <property fmtid="{D5CDD505-2E9C-101B-9397-08002B2CF9AE}" pid="4" name="lcf76f155ced4ddcb4097134ff3c332f">
    <vt:lpwstr/>
  </property>
  <property fmtid="{D5CDD505-2E9C-101B-9397-08002B2CF9AE}" pid="5" name="TaxCatchAll">
    <vt:lpwstr/>
  </property>
  <property fmtid="{D5CDD505-2E9C-101B-9397-08002B2CF9AE}" pid="6" name="Order">
    <vt:lpwstr>191300.000000000</vt:lpwstr>
  </property>
  <property fmtid="{D5CDD505-2E9C-101B-9397-08002B2CF9AE}" pid="7" name="_SourceUrl">
    <vt:lpwstr/>
  </property>
  <property fmtid="{D5CDD505-2E9C-101B-9397-08002B2CF9AE}" pid="8" name="_SharedFileIndex">
    <vt:lpwstr/>
  </property>
  <property fmtid="{D5CDD505-2E9C-101B-9397-08002B2CF9AE}" pid="9" name="ComplianceAssetId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</Properties>
</file>